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7" r:id="rId1"/>
  </p:sldMasterIdLst>
  <p:notesMasterIdLst>
    <p:notesMasterId r:id="rId3"/>
  </p:notesMasterIdLst>
  <p:sldIdLst>
    <p:sldId id="393" r:id="rId2"/>
  </p:sldIdLst>
  <p:sldSz cx="8961438" cy="6721475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DE6B8"/>
    <a:srgbClr val="2FBE9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F37AD28-E04B-47C2-9B23-E4E58BC62B7A}" v="40" dt="2021-02-10T22:20:04.01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microsoft.com/office/2016/11/relationships/changesInfo" Target="changesInfos/changesInfo1.xml"/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Relationship Id="rId9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Fiona Dean" userId="6648d5f0034946ba" providerId="Windows Live" clId="Web-{2F37AD28-E04B-47C2-9B23-E4E58BC62B7A}"/>
    <pc:docChg chg="modSld">
      <pc:chgData name="Fiona Dean" userId="6648d5f0034946ba" providerId="Windows Live" clId="Web-{2F37AD28-E04B-47C2-9B23-E4E58BC62B7A}" dt="2021-02-10T22:20:03.495" v="35" actId="20577"/>
      <pc:docMkLst>
        <pc:docMk/>
      </pc:docMkLst>
      <pc:sldChg chg="addSp delSp modSp">
        <pc:chgData name="Fiona Dean" userId="6648d5f0034946ba" providerId="Windows Live" clId="Web-{2F37AD28-E04B-47C2-9B23-E4E58BC62B7A}" dt="2021-02-10T22:20:03.495" v="35" actId="20577"/>
        <pc:sldMkLst>
          <pc:docMk/>
          <pc:sldMk cId="2825041569" sldId="393"/>
        </pc:sldMkLst>
        <pc:spChg chg="mod">
          <ac:chgData name="Fiona Dean" userId="6648d5f0034946ba" providerId="Windows Live" clId="Web-{2F37AD28-E04B-47C2-9B23-E4E58BC62B7A}" dt="2021-02-10T22:16:45.588" v="1" actId="20577"/>
          <ac:spMkLst>
            <pc:docMk/>
            <pc:sldMk cId="2825041569" sldId="393"/>
            <ac:spMk id="5" creationId="{BE6D86FE-D8F1-40C0-8751-D4F20FB58738}"/>
          </ac:spMkLst>
        </pc:spChg>
        <pc:spChg chg="mod">
          <ac:chgData name="Fiona Dean" userId="6648d5f0034946ba" providerId="Windows Live" clId="Web-{2F37AD28-E04B-47C2-9B23-E4E58BC62B7A}" dt="2021-02-10T22:18:44.386" v="24" actId="20577"/>
          <ac:spMkLst>
            <pc:docMk/>
            <pc:sldMk cId="2825041569" sldId="393"/>
            <ac:spMk id="6" creationId="{A62C49D4-82EC-4578-A00C-A6CC31BD214D}"/>
          </ac:spMkLst>
        </pc:spChg>
        <pc:spChg chg="add del mod">
          <ac:chgData name="Fiona Dean" userId="6648d5f0034946ba" providerId="Windows Live" clId="Web-{2F37AD28-E04B-47C2-9B23-E4E58BC62B7A}" dt="2021-02-10T22:17:36.573" v="10"/>
          <ac:spMkLst>
            <pc:docMk/>
            <pc:sldMk cId="2825041569" sldId="393"/>
            <ac:spMk id="9" creationId="{B1F2A8EA-8A06-4EB1-B54E-9298D197E870}"/>
          </ac:spMkLst>
        </pc:spChg>
        <pc:spChg chg="add del mod">
          <ac:chgData name="Fiona Dean" userId="6648d5f0034946ba" providerId="Windows Live" clId="Web-{2F37AD28-E04B-47C2-9B23-E4E58BC62B7A}" dt="2021-02-10T22:17:44.151" v="18"/>
          <ac:spMkLst>
            <pc:docMk/>
            <pc:sldMk cId="2825041569" sldId="393"/>
            <ac:spMk id="13" creationId="{33D5CA2A-54B2-477C-8A78-FC3115FF8A49}"/>
          </ac:spMkLst>
        </pc:spChg>
        <pc:spChg chg="mod">
          <ac:chgData name="Fiona Dean" userId="6648d5f0034946ba" providerId="Windows Live" clId="Web-{2F37AD28-E04B-47C2-9B23-E4E58BC62B7A}" dt="2021-02-10T22:17:31.057" v="4" actId="20577"/>
          <ac:spMkLst>
            <pc:docMk/>
            <pc:sldMk cId="2825041569" sldId="393"/>
            <ac:spMk id="24" creationId="{67987464-1BC8-47B3-8E49-660CBBA650B6}"/>
          </ac:spMkLst>
        </pc:spChg>
        <pc:spChg chg="mod">
          <ac:chgData name="Fiona Dean" userId="6648d5f0034946ba" providerId="Windows Live" clId="Web-{2F37AD28-E04B-47C2-9B23-E4E58BC62B7A}" dt="2021-02-10T22:16:47.166" v="2" actId="20577"/>
          <ac:spMkLst>
            <pc:docMk/>
            <pc:sldMk cId="2825041569" sldId="393"/>
            <ac:spMk id="25" creationId="{4B4E9F8B-31BA-4E4E-84E7-360424AB2B99}"/>
          </ac:spMkLst>
        </pc:spChg>
        <pc:spChg chg="mod">
          <ac:chgData name="Fiona Dean" userId="6648d5f0034946ba" providerId="Windows Live" clId="Web-{2F37AD28-E04B-47C2-9B23-E4E58BC62B7A}" dt="2021-02-10T22:19:22.073" v="27" actId="20577"/>
          <ac:spMkLst>
            <pc:docMk/>
            <pc:sldMk cId="2825041569" sldId="393"/>
            <ac:spMk id="32" creationId="{5D5EBDE0-AA51-4865-9FF5-44A227DF97C9}"/>
          </ac:spMkLst>
        </pc:spChg>
        <pc:spChg chg="mod">
          <ac:chgData name="Fiona Dean" userId="6648d5f0034946ba" providerId="Windows Live" clId="Web-{2F37AD28-E04B-47C2-9B23-E4E58BC62B7A}" dt="2021-02-10T22:17:58.885" v="21" actId="20577"/>
          <ac:spMkLst>
            <pc:docMk/>
            <pc:sldMk cId="2825041569" sldId="393"/>
            <ac:spMk id="33" creationId="{457A1530-DC83-408B-8648-E120B58931BA}"/>
          </ac:spMkLst>
        </pc:spChg>
        <pc:spChg chg="mod">
          <ac:chgData name="Fiona Dean" userId="6648d5f0034946ba" providerId="Windows Live" clId="Web-{2F37AD28-E04B-47C2-9B23-E4E58BC62B7A}" dt="2021-02-10T22:18:01.385" v="22" actId="20577"/>
          <ac:spMkLst>
            <pc:docMk/>
            <pc:sldMk cId="2825041569" sldId="393"/>
            <ac:spMk id="34" creationId="{3441AA68-E318-484B-B29B-91FD0369EB84}"/>
          </ac:spMkLst>
        </pc:spChg>
        <pc:spChg chg="mod">
          <ac:chgData name="Fiona Dean" userId="6648d5f0034946ba" providerId="Windows Live" clId="Web-{2F37AD28-E04B-47C2-9B23-E4E58BC62B7A}" dt="2021-02-10T22:19:30.964" v="29" actId="20577"/>
          <ac:spMkLst>
            <pc:docMk/>
            <pc:sldMk cId="2825041569" sldId="393"/>
            <ac:spMk id="36" creationId="{31130DA0-F302-4CF0-8361-CB3677DBB715}"/>
          </ac:spMkLst>
        </pc:spChg>
        <pc:spChg chg="mod">
          <ac:chgData name="Fiona Dean" userId="6648d5f0034946ba" providerId="Windows Live" clId="Web-{2F37AD28-E04B-47C2-9B23-E4E58BC62B7A}" dt="2021-02-10T22:19:53.433" v="31" actId="20577"/>
          <ac:spMkLst>
            <pc:docMk/>
            <pc:sldMk cId="2825041569" sldId="393"/>
            <ac:spMk id="40" creationId="{5C4D64FD-5C62-45E9-858E-546F1AECB6C5}"/>
          </ac:spMkLst>
        </pc:spChg>
        <pc:spChg chg="mod">
          <ac:chgData name="Fiona Dean" userId="6648d5f0034946ba" providerId="Windows Live" clId="Web-{2F37AD28-E04B-47C2-9B23-E4E58BC62B7A}" dt="2021-02-10T22:20:01.027" v="33" actId="20577"/>
          <ac:spMkLst>
            <pc:docMk/>
            <pc:sldMk cId="2825041569" sldId="393"/>
            <ac:spMk id="42" creationId="{ABCC00AA-7819-4FD2-BA28-F71657D39EA4}"/>
          </ac:spMkLst>
        </pc:spChg>
        <pc:spChg chg="mod">
          <ac:chgData name="Fiona Dean" userId="6648d5f0034946ba" providerId="Windows Live" clId="Web-{2F37AD28-E04B-47C2-9B23-E4E58BC62B7A}" dt="2021-02-10T22:20:03.495" v="35" actId="20577"/>
          <ac:spMkLst>
            <pc:docMk/>
            <pc:sldMk cId="2825041569" sldId="393"/>
            <ac:spMk id="46" creationId="{309A608E-B44E-4CD9-B18B-EF3483009025}"/>
          </ac:spMkLst>
        </pc:spChg>
        <pc:spChg chg="mod">
          <ac:chgData name="Fiona Dean" userId="6648d5f0034946ba" providerId="Windows Live" clId="Web-{2F37AD28-E04B-47C2-9B23-E4E58BC62B7A}" dt="2021-02-10T22:18:45.917" v="25" actId="20577"/>
          <ac:spMkLst>
            <pc:docMk/>
            <pc:sldMk cId="2825041569" sldId="393"/>
            <ac:spMk id="48" creationId="{D1D5D580-4FC2-465A-8090-AC4306ACAF07}"/>
          </ac:spMkLst>
        </pc:spChg>
        <pc:graphicFrameChg chg="add del mod">
          <ac:chgData name="Fiona Dean" userId="6648d5f0034946ba" providerId="Windows Live" clId="Web-{2F37AD28-E04B-47C2-9B23-E4E58BC62B7A}" dt="2021-02-10T22:17:36.573" v="11"/>
          <ac:graphicFrameMkLst>
            <pc:docMk/>
            <pc:sldMk cId="2825041569" sldId="393"/>
            <ac:graphicFrameMk id="7" creationId="{FAAEBAF1-3F8F-47A9-8F39-0EE08206CF96}"/>
          </ac:graphicFrameMkLst>
        </pc:graphicFrameChg>
        <pc:graphicFrameChg chg="add del mod">
          <ac:chgData name="Fiona Dean" userId="6648d5f0034946ba" providerId="Windows Live" clId="Web-{2F37AD28-E04B-47C2-9B23-E4E58BC62B7A}" dt="2021-02-10T22:17:44.151" v="19"/>
          <ac:graphicFrameMkLst>
            <pc:docMk/>
            <pc:sldMk cId="2825041569" sldId="393"/>
            <ac:graphicFrameMk id="12" creationId="{1C21AA3F-6AA2-4EDF-A2C1-3F5DF244C721}"/>
          </ac:graphicFrameMkLst>
        </pc:graphicFrame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B2C4C2-2D36-4DCE-92DC-7F8FD612207D}" type="datetimeFigureOut">
              <a:rPr lang="en-AU" smtClean="0"/>
              <a:t>10/02/2021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3188" y="1143000"/>
            <a:ext cx="41116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A352E8-A3D8-466D-9C64-BEFAB9E6BDD7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5345672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A352E8-A3D8-466D-9C64-BEFAB9E6BDD7}" type="slidenum">
              <a:rPr lang="en-AU" smtClean="0"/>
              <a:t>1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6479052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19640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ltGray">
          <a:xfrm>
            <a:off x="4030876" y="132157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ltGray">
          <a:xfrm>
            <a:off x="4030876" y="436846"/>
            <a:ext cx="218970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Printed 2/27/2017 7:03 AM India Standard Time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ltGray">
          <a:xfrm>
            <a:off x="4030876" y="277771"/>
            <a:ext cx="292227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Last Modified 10/03/2017 4:54 PM W. Australia Standard Time</a:t>
            </a:r>
            <a:endParaRPr lang="en-US" sz="800" baseline="0" noProof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ltGray">
          <a:xfrm>
            <a:off x="4030876" y="5305595"/>
            <a:ext cx="4769712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sp>
        <p:nvSpPr>
          <p:cNvPr id="19" name="doc id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ltGray">
          <a:xfrm>
            <a:off x="4030876" y="650494"/>
            <a:ext cx="4769711" cy="98488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200" b="0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ltGray">
          <a:xfrm>
            <a:off x="4030876" y="1887470"/>
            <a:ext cx="4769712" cy="215444"/>
          </a:xfrm>
        </p:spPr>
        <p:txBody>
          <a:bodyPr wrap="square">
            <a:spAutoFit/>
          </a:bodyPr>
          <a:lstStyle>
            <a:lvl1pPr>
              <a:defRPr sz="1400" cap="none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20" name="Rectangle 19"/>
          <p:cNvSpPr/>
          <p:nvPr userDrawn="1"/>
        </p:nvSpPr>
        <p:spPr bwMode="ltGray">
          <a:xfrm>
            <a:off x="3175" y="6233824"/>
            <a:ext cx="8958263" cy="48765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 bwMode="ltGray">
          <a:xfrm>
            <a:off x="0" y="6187568"/>
            <a:ext cx="8961438" cy="4571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8651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483748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3" Type="http://schemas.openxmlformats.org/officeDocument/2006/relationships/theme" Target="../theme/theme1.xml"/><Relationship Id="rId21" Type="http://schemas.openxmlformats.org/officeDocument/2006/relationships/tags" Target="../tags/tag17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oleObject" Target="../embeddings/oleObject1.bin"/><Relationship Id="rId5" Type="http://schemas.openxmlformats.org/officeDocument/2006/relationships/tags" Target="../tags/tag1.xml"/><Relationship Id="rId15" Type="http://schemas.openxmlformats.org/officeDocument/2006/relationships/tags" Target="../tags/tag11.xml"/><Relationship Id="rId23" Type="http://schemas.openxmlformats.org/officeDocument/2006/relationships/tags" Target="../tags/tag19.xml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4" Type="http://schemas.openxmlformats.org/officeDocument/2006/relationships/vmlDrawing" Target="../drawings/vmlDrawing1.v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tags" Target="../tags/tag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01323714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5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0/03/2017 4:54 PM W. Australia Standard Time</a:t>
            </a:r>
            <a:endParaRPr lang="en-US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074057" y="4114417"/>
            <a:ext cx="163506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/27/2017 7:03 AM India Standard Time</a:t>
            </a:r>
            <a:endParaRPr lang="en-US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29657" y="231777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1451" y="185145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71450" y="35048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baseline="0" noProof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71450" y="519908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29657" y="1747865"/>
            <a:ext cx="43021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8" name="LegendBoxes" hidden="1"/>
          <p:cNvGrpSpPr>
            <a:grpSpLocks/>
          </p:cNvGrpSpPr>
          <p:nvPr/>
        </p:nvGrpSpPr>
        <p:grpSpPr bwMode="auto">
          <a:xfrm>
            <a:off x="8026400" y="237755"/>
            <a:ext cx="763588" cy="996951"/>
            <a:chOff x="4936" y="176"/>
            <a:chExt cx="481" cy="628"/>
          </a:xfrm>
        </p:grpSpPr>
        <p:sp>
          <p:nvSpPr>
            <p:cNvPr id="20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1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2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3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4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5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6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7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</p:grpSp>
      <p:grpSp>
        <p:nvGrpSpPr>
          <p:cNvPr id="28" name="LegendLines" hidden="1"/>
          <p:cNvGrpSpPr>
            <a:grpSpLocks/>
          </p:cNvGrpSpPr>
          <p:nvPr/>
        </p:nvGrpSpPr>
        <p:grpSpPr bwMode="auto">
          <a:xfrm>
            <a:off x="7718425" y="237755"/>
            <a:ext cx="1071563" cy="730251"/>
            <a:chOff x="4750" y="176"/>
            <a:chExt cx="675" cy="460"/>
          </a:xfrm>
        </p:grpSpPr>
        <p:sp>
          <p:nvSpPr>
            <p:cNvPr id="29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0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1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2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3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4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35" name="McK Sticker" hidden="1"/>
          <p:cNvGrpSpPr/>
          <p:nvPr/>
        </p:nvGrpSpPr>
        <p:grpSpPr bwMode="auto">
          <a:xfrm>
            <a:off x="8064982" y="237755"/>
            <a:ext cx="725006" cy="150811"/>
            <a:chOff x="8015769" y="285750"/>
            <a:chExt cx="725006" cy="150811"/>
          </a:xfrm>
        </p:grpSpPr>
        <p:sp>
          <p:nvSpPr>
            <p:cNvPr id="36" name="StickerRectangle"/>
            <p:cNvSpPr>
              <a:spLocks noChangeArrowheads="1"/>
            </p:cNvSpPr>
            <p:nvPr/>
          </p:nvSpPr>
          <p:spPr bwMode="auto">
            <a:xfrm>
              <a:off x="8015769" y="285750"/>
              <a:ext cx="72500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80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37" name="AutoShape 31"/>
            <p:cNvCxnSpPr>
              <a:cxnSpLocks noChangeShapeType="1"/>
              <a:stCxn id="36" idx="2"/>
              <a:endCxn id="36" idx="4"/>
            </p:cNvCxnSpPr>
            <p:nvPr/>
          </p:nvCxnSpPr>
          <p:spPr bwMode="auto">
            <a:xfrm>
              <a:off x="801576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8" name="AutoShape 32"/>
            <p:cNvCxnSpPr>
              <a:cxnSpLocks noChangeShapeType="1"/>
              <a:stCxn id="36" idx="4"/>
              <a:endCxn id="36" idx="6"/>
            </p:cNvCxnSpPr>
            <p:nvPr/>
          </p:nvCxnSpPr>
          <p:spPr bwMode="auto">
            <a:xfrm>
              <a:off x="8015769" y="436561"/>
              <a:ext cx="7250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63" name="Slide Number"/>
          <p:cNvSpPr txBox="1">
            <a:spLocks/>
          </p:cNvSpPr>
          <p:nvPr/>
        </p:nvSpPr>
        <p:spPr bwMode="auto">
          <a:xfrm>
            <a:off x="8664954" y="646255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00" smtClean="0">
                <a:solidFill>
                  <a:schemeClr val="tx1"/>
                </a:solidFill>
              </a:rPr>
              <a:pPr lvl="0" algn="r"/>
              <a:t>‹#›</a:t>
            </a:fld>
            <a:endParaRPr lang="en-US" sz="800">
              <a:solidFill>
                <a:schemeClr val="tx1"/>
              </a:solidFill>
            </a:endParaRPr>
          </a:p>
        </p:txBody>
      </p:sp>
      <p:grpSp>
        <p:nvGrpSpPr>
          <p:cNvPr id="64" name="Moon" hidden="1"/>
          <p:cNvGrpSpPr>
            <a:grpSpLocks noChangeAspect="1"/>
          </p:cNvGrpSpPr>
          <p:nvPr>
            <p:custDataLst>
              <p:tags r:id="rId6"/>
            </p:custDataLst>
          </p:nvPr>
        </p:nvGrpSpPr>
        <p:grpSpPr bwMode="auto">
          <a:xfrm>
            <a:off x="7170608" y="764013"/>
            <a:ext cx="254000" cy="254000"/>
            <a:chOff x="1600" y="1600"/>
            <a:chExt cx="160" cy="160"/>
          </a:xfrm>
        </p:grpSpPr>
        <p:sp>
          <p:nvSpPr>
            <p:cNvPr id="65" name="Oval 90"/>
            <p:cNvSpPr>
              <a:spLocks noChangeAspect="1"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6" name="Arc 91"/>
            <p:cNvSpPr>
              <a:spLocks noChangeAspect="1"/>
            </p:cNvSpPr>
            <p:nvPr>
              <p:custDataLst>
                <p:tags r:id="rId23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67" name="LegendMoons" hidden="1"/>
          <p:cNvGrpSpPr/>
          <p:nvPr/>
        </p:nvGrpSpPr>
        <p:grpSpPr bwMode="auto">
          <a:xfrm>
            <a:off x="7959558" y="237755"/>
            <a:ext cx="830430" cy="1306516"/>
            <a:chOff x="5428012" y="273840"/>
            <a:chExt cx="830430" cy="1306516"/>
          </a:xfrm>
        </p:grpSpPr>
        <p:sp>
          <p:nvSpPr>
            <p:cNvPr id="68" name="Legend1"/>
            <p:cNvSpPr>
              <a:spLocks noChangeArrowheads="1"/>
            </p:cNvSpPr>
            <p:nvPr/>
          </p:nvSpPr>
          <p:spPr bwMode="auto">
            <a:xfrm>
              <a:off x="5748687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auto">
            <a:xfrm>
              <a:off x="5748687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auto">
            <a:xfrm>
              <a:off x="5748687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auto">
            <a:xfrm>
              <a:off x="5748687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2" name="Legend5"/>
            <p:cNvSpPr>
              <a:spLocks noChangeArrowheads="1"/>
            </p:cNvSpPr>
            <p:nvPr/>
          </p:nvSpPr>
          <p:spPr bwMode="auto">
            <a:xfrm>
              <a:off x="5748687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grpSp>
          <p:nvGrpSpPr>
            <p:cNvPr id="73" name="MoonLegend1"/>
            <p:cNvGrpSpPr>
              <a:grpSpLocks noChangeAspect="1"/>
            </p:cNvGrpSpPr>
            <p:nvPr userDrawn="1">
              <p:custDataLst>
                <p:tags r:id="rId7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8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4" name="MoonLegend2"/>
            <p:cNvGrpSpPr>
              <a:grpSpLocks noChangeAspect="1"/>
            </p:cNvGrpSpPr>
            <p:nvPr userDrawn="1">
              <p:custDataLst>
                <p:tags r:id="rId8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84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5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5" name="MoonLegend3"/>
            <p:cNvGrpSpPr>
              <a:grpSpLocks noChangeAspect="1"/>
            </p:cNvGrpSpPr>
            <p:nvPr userDrawn="1">
              <p:custDataLst>
                <p:tags r:id="rId9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82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3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6" name="MoonLegend4"/>
            <p:cNvGrpSpPr>
              <a:grpSpLocks noChangeAspect="1"/>
            </p:cNvGrpSpPr>
            <p:nvPr userDrawn="1">
              <p:custDataLst>
                <p:tags r:id="rId10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80" name="Oval 4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1" name="Arc 42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7" name="MoonLegend5"/>
            <p:cNvGrpSpPr>
              <a:grpSpLocks noChangeAspect="1"/>
            </p:cNvGrpSpPr>
            <p:nvPr userDrawn="1">
              <p:custDataLst>
                <p:tags r:id="rId11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78" name="Oval 4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79" name="Arc 42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</p:grpSp>
      <p:grpSp>
        <p:nvGrpSpPr>
          <p:cNvPr id="3" name="Slide Elements" hidden="1"/>
          <p:cNvGrpSpPr/>
          <p:nvPr/>
        </p:nvGrpSpPr>
        <p:grpSpPr bwMode="auto">
          <a:xfrm>
            <a:off x="171450" y="6276179"/>
            <a:ext cx="7277099" cy="309484"/>
            <a:chOff x="171451" y="6321899"/>
            <a:chExt cx="7200000" cy="309484"/>
          </a:xfrm>
        </p:grpSpPr>
        <p:sp>
          <p:nvSpPr>
            <p:cNvPr id="89" name="4. Footnote"/>
            <p:cNvSpPr txBox="1">
              <a:spLocks noChangeArrowheads="1"/>
            </p:cNvSpPr>
            <p:nvPr/>
          </p:nvSpPr>
          <p:spPr bwMode="auto">
            <a:xfrm>
              <a:off x="171451" y="6321899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725" indent="-85725">
                <a:defRPr lang="x-none"/>
              </a:pPr>
              <a:r>
                <a:rPr lang="x-none" sz="800" baseline="0">
                  <a:solidFill>
                    <a:schemeClr val="tx1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90" name="5. Source"/>
            <p:cNvSpPr>
              <a:spLocks noChangeArrowheads="1"/>
            </p:cNvSpPr>
            <p:nvPr/>
          </p:nvSpPr>
          <p:spPr bwMode="auto">
            <a:xfrm>
              <a:off x="171451" y="6508272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409575" indent="-409575" defTabSz="895350">
                <a:tabLst>
                  <a:tab pos="409575" algn="l"/>
                </a:tabLst>
              </a:pPr>
              <a:r>
                <a:rPr lang="x-none" sz="800" baseline="0">
                  <a:solidFill>
                    <a:schemeClr val="tx1"/>
                  </a:solidFill>
                  <a:latin typeface="+mn-lt"/>
                  <a:ea typeface="+mn-ea"/>
                </a:rPr>
                <a:t>Source : Source</a:t>
              </a:r>
            </a:p>
          </p:txBody>
        </p:sp>
      </p:grpSp>
      <p:sp>
        <p:nvSpPr>
          <p:cNvPr id="62" name="Rectangle 61"/>
          <p:cNvSpPr/>
          <p:nvPr/>
        </p:nvSpPr>
        <p:spPr bwMode="auto">
          <a:xfrm>
            <a:off x="0" y="6674787"/>
            <a:ext cx="8961438" cy="45719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9404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accent3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215444"/>
          </a:xfrm>
        </p:spPr>
        <p:txBody>
          <a:bodyPr/>
          <a:lstStyle/>
          <a:p>
            <a:r>
              <a:rPr lang="en-GB" sz="1400" b="1"/>
              <a:t>Expenses Value Driver Tree</a:t>
            </a:r>
            <a:endParaRPr lang="en-AU" sz="1400" b="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7CC8F6F-F722-4F6F-8BAB-BAAF3438C6A2}"/>
              </a:ext>
            </a:extLst>
          </p:cNvPr>
          <p:cNvSpPr/>
          <p:nvPr/>
        </p:nvSpPr>
        <p:spPr>
          <a:xfrm>
            <a:off x="330200" y="3005137"/>
            <a:ext cx="1517650" cy="71120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0" b="1">
                <a:solidFill>
                  <a:schemeClr val="tx1"/>
                </a:solidFill>
              </a:rPr>
              <a:t>Operational Expenses</a:t>
            </a:r>
            <a:endParaRPr lang="en-AU" sz="1050" b="1" err="1">
              <a:solidFill>
                <a:schemeClr val="tx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E6D86FE-D8F1-40C0-8751-D4F20FB58738}"/>
              </a:ext>
            </a:extLst>
          </p:cNvPr>
          <p:cNvSpPr/>
          <p:nvPr/>
        </p:nvSpPr>
        <p:spPr>
          <a:xfrm>
            <a:off x="2597150" y="1239116"/>
            <a:ext cx="1517650" cy="71120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AU" sz="1050">
                <a:ea typeface="+mn-lt"/>
                <a:cs typeface="+mn-lt"/>
              </a:rPr>
              <a:t>Chemical Costs</a:t>
            </a:r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62C49D4-82EC-4578-A00C-A6CC31BD214D}"/>
              </a:ext>
            </a:extLst>
          </p:cNvPr>
          <p:cNvSpPr/>
          <p:nvPr/>
        </p:nvSpPr>
        <p:spPr>
          <a:xfrm>
            <a:off x="2606675" y="5775455"/>
            <a:ext cx="1517650" cy="71120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AU" sz="1050">
                <a:ea typeface="+mn-lt"/>
                <a:cs typeface="+mn-lt"/>
              </a:rPr>
              <a:t>Labour Costs</a:t>
            </a:r>
            <a:endParaRPr lang="en-US"/>
          </a:p>
        </p:txBody>
      </p:sp>
      <p:cxnSp>
        <p:nvCxnSpPr>
          <p:cNvPr id="8" name="Connector: Elbow 7">
            <a:extLst>
              <a:ext uri="{FF2B5EF4-FFF2-40B4-BE49-F238E27FC236}">
                <a16:creationId xmlns:a16="http://schemas.microsoft.com/office/drawing/2014/main" id="{CAB0563B-8DE3-4C6D-A2EB-E25B76303051}"/>
              </a:ext>
            </a:extLst>
          </p:cNvPr>
          <p:cNvCxnSpPr>
            <a:stCxn id="3" idx="3"/>
            <a:endCxn id="5" idx="1"/>
          </p:cNvCxnSpPr>
          <p:nvPr/>
        </p:nvCxnSpPr>
        <p:spPr>
          <a:xfrm flipV="1">
            <a:off x="1847850" y="1594716"/>
            <a:ext cx="749300" cy="1766021"/>
          </a:xfrm>
          <a:prstGeom prst="bentConnector3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ctor: Elbow 9">
            <a:extLst>
              <a:ext uri="{FF2B5EF4-FFF2-40B4-BE49-F238E27FC236}">
                <a16:creationId xmlns:a16="http://schemas.microsoft.com/office/drawing/2014/main" id="{F8D9E771-BBE9-4B75-98EC-7C6E822CB83A}"/>
              </a:ext>
            </a:extLst>
          </p:cNvPr>
          <p:cNvCxnSpPr>
            <a:stCxn id="3" idx="3"/>
            <a:endCxn id="6" idx="1"/>
          </p:cNvCxnSpPr>
          <p:nvPr/>
        </p:nvCxnSpPr>
        <p:spPr>
          <a:xfrm>
            <a:off x="1847850" y="3360737"/>
            <a:ext cx="758825" cy="2770318"/>
          </a:xfrm>
          <a:prstGeom prst="bentConnector3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512984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67987464-1BC8-47B3-8E49-660CBBA650B6}"/>
              </a:ext>
            </a:extLst>
          </p:cNvPr>
          <p:cNvSpPr/>
          <p:nvPr/>
        </p:nvSpPr>
        <p:spPr>
          <a:xfrm>
            <a:off x="2606675" y="2287419"/>
            <a:ext cx="1517650" cy="71120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AU" sz="1050">
                <a:ea typeface="+mn-lt"/>
                <a:cs typeface="+mn-lt"/>
              </a:rPr>
              <a:t>Facility Costs</a:t>
            </a:r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4B4E9F8B-31BA-4E4E-84E7-360424AB2B99}"/>
              </a:ext>
            </a:extLst>
          </p:cNvPr>
          <p:cNvSpPr/>
          <p:nvPr/>
        </p:nvSpPr>
        <p:spPr>
          <a:xfrm>
            <a:off x="4978400" y="1468273"/>
            <a:ext cx="2292349" cy="24311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AU" sz="1050">
                <a:ea typeface="+mn-lt"/>
                <a:cs typeface="+mn-lt"/>
              </a:rPr>
              <a:t>Chem-Exp (001)</a:t>
            </a:r>
            <a:endParaRPr lang="en-US"/>
          </a:p>
        </p:txBody>
      </p:sp>
      <p:cxnSp>
        <p:nvCxnSpPr>
          <p:cNvPr id="37" name="Connector: Elbow 36">
            <a:extLst>
              <a:ext uri="{FF2B5EF4-FFF2-40B4-BE49-F238E27FC236}">
                <a16:creationId xmlns:a16="http://schemas.microsoft.com/office/drawing/2014/main" id="{0E7F1FB9-82A8-41B5-A6B4-107B1DC816C8}"/>
              </a:ext>
            </a:extLst>
          </p:cNvPr>
          <p:cNvCxnSpPr>
            <a:cxnSpLocks/>
            <a:stCxn id="24" idx="3"/>
            <a:endCxn id="33" idx="1"/>
          </p:cNvCxnSpPr>
          <p:nvPr/>
        </p:nvCxnSpPr>
        <p:spPr>
          <a:xfrm flipV="1">
            <a:off x="4124325" y="2411755"/>
            <a:ext cx="854073" cy="231264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nector: Elbow 38">
            <a:extLst>
              <a:ext uri="{FF2B5EF4-FFF2-40B4-BE49-F238E27FC236}">
                <a16:creationId xmlns:a16="http://schemas.microsoft.com/office/drawing/2014/main" id="{E91D55F3-BDB0-435E-802F-ACA65656CE4C}"/>
              </a:ext>
            </a:extLst>
          </p:cNvPr>
          <p:cNvCxnSpPr>
            <a:cxnSpLocks/>
            <a:stCxn id="24" idx="3"/>
            <a:endCxn id="34" idx="1"/>
          </p:cNvCxnSpPr>
          <p:nvPr/>
        </p:nvCxnSpPr>
        <p:spPr>
          <a:xfrm>
            <a:off x="4124325" y="2643019"/>
            <a:ext cx="854073" cy="362118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>
            <a:extLst>
              <a:ext uri="{FF2B5EF4-FFF2-40B4-BE49-F238E27FC236}">
                <a16:creationId xmlns:a16="http://schemas.microsoft.com/office/drawing/2014/main" id="{95B8C019-47BE-4B43-B41C-4FCEAA2CC419}"/>
              </a:ext>
            </a:extLst>
          </p:cNvPr>
          <p:cNvSpPr txBox="1"/>
          <p:nvPr/>
        </p:nvSpPr>
        <p:spPr>
          <a:xfrm>
            <a:off x="2825750" y="495791"/>
            <a:ext cx="17907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200" b="1" u="sng"/>
              <a:t>Cost Centre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B7C6221-E9EB-41A4-9AA7-0C7502ADEDE6}"/>
              </a:ext>
            </a:extLst>
          </p:cNvPr>
          <p:cNvSpPr txBox="1"/>
          <p:nvPr/>
        </p:nvSpPr>
        <p:spPr>
          <a:xfrm>
            <a:off x="4921250" y="470944"/>
            <a:ext cx="20002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200" b="1" u="sng"/>
              <a:t>Cost Centre Elements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5D5EBDE0-AA51-4865-9FF5-44A227DF97C9}"/>
              </a:ext>
            </a:extLst>
          </p:cNvPr>
          <p:cNvSpPr/>
          <p:nvPr/>
        </p:nvSpPr>
        <p:spPr>
          <a:xfrm>
            <a:off x="2606675" y="4073735"/>
            <a:ext cx="1517650" cy="71120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AU" sz="1050">
                <a:ea typeface="+mn-lt"/>
                <a:cs typeface="+mn-lt"/>
              </a:rPr>
              <a:t>Operational Maintenance Costs</a:t>
            </a:r>
            <a:endParaRPr lang="en-US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67E6D25-4BC9-4986-84B0-B6D42CE8AF60}"/>
              </a:ext>
            </a:extLst>
          </p:cNvPr>
          <p:cNvCxnSpPr>
            <a:stCxn id="5" idx="3"/>
            <a:endCxn id="25" idx="1"/>
          </p:cNvCxnSpPr>
          <p:nvPr/>
        </p:nvCxnSpPr>
        <p:spPr>
          <a:xfrm flipV="1">
            <a:off x="4114800" y="1589829"/>
            <a:ext cx="863600" cy="4887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32">
            <a:extLst>
              <a:ext uri="{FF2B5EF4-FFF2-40B4-BE49-F238E27FC236}">
                <a16:creationId xmlns:a16="http://schemas.microsoft.com/office/drawing/2014/main" id="{457A1530-DC83-408B-8648-E120B58931BA}"/>
              </a:ext>
            </a:extLst>
          </p:cNvPr>
          <p:cNvSpPr/>
          <p:nvPr/>
        </p:nvSpPr>
        <p:spPr>
          <a:xfrm>
            <a:off x="4978398" y="2290199"/>
            <a:ext cx="2292349" cy="24311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AU" sz="1050">
                <a:ea typeface="+mn-lt"/>
                <a:cs typeface="+mn-lt"/>
              </a:rPr>
              <a:t>Utility-Exp (002) - Heating</a:t>
            </a:r>
            <a:endParaRPr lang="en-US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3441AA68-E318-484B-B29B-91FD0369EB84}"/>
              </a:ext>
            </a:extLst>
          </p:cNvPr>
          <p:cNvSpPr/>
          <p:nvPr/>
        </p:nvSpPr>
        <p:spPr>
          <a:xfrm>
            <a:off x="4978398" y="2883581"/>
            <a:ext cx="2292349" cy="24311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AU" sz="1050">
                <a:ea typeface="+mn-lt"/>
                <a:cs typeface="+mn-lt"/>
              </a:rPr>
              <a:t>Utility-Exp (002) - Electricity</a:t>
            </a:r>
            <a:endParaRPr lang="en-US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31130DA0-F302-4CF0-8361-CB3677DBB715}"/>
              </a:ext>
            </a:extLst>
          </p:cNvPr>
          <p:cNvSpPr/>
          <p:nvPr/>
        </p:nvSpPr>
        <p:spPr>
          <a:xfrm>
            <a:off x="4978398" y="3605974"/>
            <a:ext cx="2292349" cy="24311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AU" sz="900">
                <a:ea typeface="+mn-lt"/>
                <a:cs typeface="+mn-lt"/>
              </a:rPr>
              <a:t>Plant Maintenance (001)</a:t>
            </a:r>
            <a:endParaRPr lang="en-US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5C4D64FD-5C62-45E9-858E-546F1AECB6C5}"/>
              </a:ext>
            </a:extLst>
          </p:cNvPr>
          <p:cNvSpPr/>
          <p:nvPr/>
        </p:nvSpPr>
        <p:spPr>
          <a:xfrm>
            <a:off x="4978397" y="4039232"/>
            <a:ext cx="2292349" cy="24311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AU" sz="900">
                <a:ea typeface="+mn-lt"/>
                <a:cs typeface="+mn-lt"/>
              </a:rPr>
              <a:t>Plant Outages (002)</a:t>
            </a:r>
            <a:endParaRPr lang="en-US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ABCC00AA-7819-4FD2-BA28-F71657D39EA4}"/>
              </a:ext>
            </a:extLst>
          </p:cNvPr>
          <p:cNvSpPr/>
          <p:nvPr/>
        </p:nvSpPr>
        <p:spPr>
          <a:xfrm>
            <a:off x="4978397" y="4463121"/>
            <a:ext cx="2292349" cy="24311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AU" sz="900">
                <a:ea typeface="+mn-lt"/>
                <a:cs typeface="+mn-lt"/>
              </a:rPr>
              <a:t>Plant Op. Costs (003)</a:t>
            </a:r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309A608E-B44E-4CD9-B18B-EF3483009025}"/>
              </a:ext>
            </a:extLst>
          </p:cNvPr>
          <p:cNvSpPr/>
          <p:nvPr/>
        </p:nvSpPr>
        <p:spPr>
          <a:xfrm>
            <a:off x="4978396" y="4868091"/>
            <a:ext cx="2292349" cy="24311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AU" sz="900">
                <a:ea typeface="+mn-lt"/>
                <a:cs typeface="+mn-lt"/>
              </a:rPr>
              <a:t>Plant Admin Costs (004)</a:t>
            </a:r>
            <a:endParaRPr lang="en-US">
              <a:ea typeface="+mn-lt"/>
              <a:cs typeface="+mn-lt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D1D5D580-4FC2-465A-8090-AC4306ACAF07}"/>
              </a:ext>
            </a:extLst>
          </p:cNvPr>
          <p:cNvSpPr/>
          <p:nvPr/>
        </p:nvSpPr>
        <p:spPr>
          <a:xfrm>
            <a:off x="4978396" y="6006730"/>
            <a:ext cx="2292349" cy="24311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AU" sz="1050">
                <a:ea typeface="+mn-lt"/>
                <a:cs typeface="+mn-lt"/>
              </a:rPr>
              <a:t>Labour-Costs (001)</a:t>
            </a:r>
            <a:endParaRPr lang="en-US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1CF5882-3E68-499F-AA7A-3A03FA5F5149}"/>
              </a:ext>
            </a:extLst>
          </p:cNvPr>
          <p:cNvCxnSpPr>
            <a:stCxn id="6" idx="3"/>
            <a:endCxn id="48" idx="1"/>
          </p:cNvCxnSpPr>
          <p:nvPr/>
        </p:nvCxnSpPr>
        <p:spPr>
          <a:xfrm flipV="1">
            <a:off x="4124325" y="6128286"/>
            <a:ext cx="854071" cy="2769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nector: Elbow 20">
            <a:extLst>
              <a:ext uri="{FF2B5EF4-FFF2-40B4-BE49-F238E27FC236}">
                <a16:creationId xmlns:a16="http://schemas.microsoft.com/office/drawing/2014/main" id="{BC1DE5A2-609D-43DC-BE36-0EDE071B9D74}"/>
              </a:ext>
            </a:extLst>
          </p:cNvPr>
          <p:cNvCxnSpPr>
            <a:stCxn id="32" idx="3"/>
            <a:endCxn id="36" idx="1"/>
          </p:cNvCxnSpPr>
          <p:nvPr/>
        </p:nvCxnSpPr>
        <p:spPr>
          <a:xfrm flipV="1">
            <a:off x="4124325" y="3727530"/>
            <a:ext cx="854073" cy="701805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nector: Elbow 22">
            <a:extLst>
              <a:ext uri="{FF2B5EF4-FFF2-40B4-BE49-F238E27FC236}">
                <a16:creationId xmlns:a16="http://schemas.microsoft.com/office/drawing/2014/main" id="{4E0BF173-2702-45ED-8BF0-1FC64987B142}"/>
              </a:ext>
            </a:extLst>
          </p:cNvPr>
          <p:cNvCxnSpPr>
            <a:stCxn id="32" idx="3"/>
            <a:endCxn id="46" idx="1"/>
          </p:cNvCxnSpPr>
          <p:nvPr/>
        </p:nvCxnSpPr>
        <p:spPr>
          <a:xfrm>
            <a:off x="4124325" y="4429335"/>
            <a:ext cx="854071" cy="560312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Oval 48">
            <a:extLst>
              <a:ext uri="{FF2B5EF4-FFF2-40B4-BE49-F238E27FC236}">
                <a16:creationId xmlns:a16="http://schemas.microsoft.com/office/drawing/2014/main" id="{7D8877A8-B79B-451E-9282-EF06063653D9}"/>
              </a:ext>
            </a:extLst>
          </p:cNvPr>
          <p:cNvSpPr/>
          <p:nvPr/>
        </p:nvSpPr>
        <p:spPr>
          <a:xfrm>
            <a:off x="2063469" y="3204446"/>
            <a:ext cx="275129" cy="274994"/>
          </a:xfrm>
          <a:prstGeom prst="ellipse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b="1">
                <a:solidFill>
                  <a:schemeClr val="bg1"/>
                </a:solidFill>
              </a:rPr>
              <a:t>+</a:t>
            </a: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6F4F94F5-9AB0-4A03-B1F0-397C721C8473}"/>
              </a:ext>
            </a:extLst>
          </p:cNvPr>
          <p:cNvSpPr/>
          <p:nvPr/>
        </p:nvSpPr>
        <p:spPr>
          <a:xfrm>
            <a:off x="4440259" y="2489581"/>
            <a:ext cx="275129" cy="274994"/>
          </a:xfrm>
          <a:prstGeom prst="ellipse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b="1">
                <a:solidFill>
                  <a:schemeClr val="bg1"/>
                </a:solidFill>
              </a:rPr>
              <a:t>+</a:t>
            </a: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2A9AFC25-7290-4912-A14D-4439454A9CA0}"/>
              </a:ext>
            </a:extLst>
          </p:cNvPr>
          <p:cNvSpPr/>
          <p:nvPr/>
        </p:nvSpPr>
        <p:spPr>
          <a:xfrm>
            <a:off x="4440023" y="4261897"/>
            <a:ext cx="275129" cy="274994"/>
          </a:xfrm>
          <a:prstGeom prst="ellipse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b="1">
                <a:solidFill>
                  <a:schemeClr val="bg1"/>
                </a:solidFill>
              </a:rPr>
              <a:t>+</a:t>
            </a:r>
          </a:p>
        </p:txBody>
      </p:sp>
    </p:spTree>
    <p:extLst>
      <p:ext uri="{BB962C8B-B14F-4D97-AF65-F5344CB8AC3E}">
        <p14:creationId xmlns:p14="http://schemas.microsoft.com/office/powerpoint/2010/main" val="28250415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heme/theme1.xml><?xml version="1.0" encoding="utf-8"?>
<a:theme xmlns:a="http://schemas.openxmlformats.org/drawingml/2006/main" name="1_Synergy_CF_YNR013">
  <a:themeElements>
    <a:clrScheme name="Current">
      <a:dk1>
        <a:srgbClr val="000000"/>
      </a:dk1>
      <a:lt1>
        <a:srgbClr val="FFFFFF"/>
      </a:lt1>
      <a:dk2>
        <a:srgbClr val="FBC14E"/>
      </a:dk2>
      <a:lt2>
        <a:srgbClr val="FFFFFF"/>
      </a:lt2>
      <a:accent1>
        <a:srgbClr val="99AABE"/>
      </a:accent1>
      <a:accent2>
        <a:srgbClr val="406085"/>
      </a:accent2>
      <a:accent3>
        <a:srgbClr val="002C46"/>
      </a:accent3>
      <a:accent4>
        <a:srgbClr val="FBC14E"/>
      </a:accent4>
      <a:accent5>
        <a:srgbClr val="379BBD"/>
      </a:accent5>
      <a:accent6>
        <a:srgbClr val="808080"/>
      </a:accent6>
      <a:hlink>
        <a:srgbClr val="002C46"/>
      </a:hlink>
      <a:folHlink>
        <a:srgbClr val="FBC14E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FBC14E"/>
        </a:dk2>
        <a:lt2>
          <a:srgbClr val="FFFFFF"/>
        </a:lt2>
        <a:accent1>
          <a:srgbClr val="99AABE"/>
        </a:accent1>
        <a:accent2>
          <a:srgbClr val="406085"/>
        </a:accent2>
        <a:accent3>
          <a:srgbClr val="002C46"/>
        </a:accent3>
        <a:accent4>
          <a:srgbClr val="FBC14E"/>
        </a:accent4>
        <a:accent5>
          <a:srgbClr val="379BBD"/>
        </a:accent5>
        <a:accent6>
          <a:srgbClr val="808080"/>
        </a:accent6>
        <a:hlink>
          <a:srgbClr val="002C46"/>
        </a:hlink>
        <a:folHlink>
          <a:srgbClr val="FBC14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ynergy_CF_YNR013.potx" id="{5B0B8770-4875-4F3D-A851-ED2332DB7D84}" vid="{3E5BE603-DDA9-4662-BF9D-F22E8644910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Application>Microsoft Office PowerPoint</Application>
  <PresentationFormat>Custom</PresentationFormat>
  <Slides>1</Slides>
  <Notes>1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2" baseType="lpstr">
      <vt:lpstr>1_Synergy_CF_YNR013</vt:lpstr>
      <vt:lpstr>Expenses Value Driver Tre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rough focusing our efforts on the units with the majority of questions; we can be confident that we are improving the overall User Experience etc.</dc:title>
  <dc:creator>Christopher H</dc:creator>
  <cp:revision>1</cp:revision>
  <dcterms:created xsi:type="dcterms:W3CDTF">2020-04-12T13:23:13Z</dcterms:created>
  <dcterms:modified xsi:type="dcterms:W3CDTF">2021-02-10T22:20:31Z</dcterms:modified>
</cp:coreProperties>
</file>